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2.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5.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8.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9.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0.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2.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3.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44.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45.xml" ContentType="application/vnd.openxmlformats-officedocument.presentationml.tag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46.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4"/>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int Comparison Analysis by Product Scraped" id="{F09F987B-8562-4C6C-95F1-5FC4B7B34030}">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Lst>
        </p14:section>
        <p14:section name="Price Point Comparison Analysis by Manuf Scraped" id="{A0A10AA9-42C9-4191-9E45-AFD685A897C2}">
          <p14:sldIdLst>
            <p14:sldId id="2147477379"/>
            <p14:sldId id="2147477380"/>
            <p14:sldId id="2147477381"/>
            <p14:sldId id="2147477382"/>
            <p14:sldId id="2147477383"/>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7/2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9/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9/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514567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808517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187225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748084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146002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73086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154377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182957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342051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228053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352898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604314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974003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311590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883457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417900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882686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771002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7/29/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397912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2774</Words>
  <Application>Microsoft Office PowerPoint</Application>
  <PresentationFormat>On-screen Show (16:9)</PresentationFormat>
  <Paragraphs>1406</Paragraphs>
  <Slides>19</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8" baseType="lpstr">
      <vt:lpstr>Aptos</vt:lpstr>
      <vt:lpstr>Arial</vt:lpstr>
      <vt:lpstr>Nexa</vt:lpstr>
      <vt:lpstr>Nexa Bold</vt:lpstr>
      <vt:lpstr>Nexa Book</vt:lpstr>
      <vt:lpstr>Nexa Book Italic</vt:lpstr>
      <vt:lpstr>Open Sans</vt:lpstr>
      <vt:lpstr>PricingOne Light Template Oct 2024</vt:lpstr>
      <vt:lpstr>think-cell Slide</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7-29T11:5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